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7" r:id="rId2"/>
    <p:sldId id="274" r:id="rId3"/>
    <p:sldId id="299" r:id="rId4"/>
    <p:sldId id="300" r:id="rId5"/>
    <p:sldId id="303" r:id="rId6"/>
    <p:sldId id="285" r:id="rId7"/>
    <p:sldId id="301" r:id="rId8"/>
    <p:sldId id="304" r:id="rId9"/>
    <p:sldId id="302" r:id="rId10"/>
    <p:sldId id="277" r:id="rId11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9" autoAdjust="0"/>
    <p:restoredTop sz="94660"/>
  </p:normalViewPr>
  <p:slideViewPr>
    <p:cSldViewPr snapToGrid="0">
      <p:cViewPr varScale="1">
        <p:scale>
          <a:sx n="70" d="100"/>
          <a:sy n="70" d="100"/>
        </p:scale>
        <p:origin x="492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EBEC4D-E774-4AA7-9A6E-DB4A33E083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4890DC30-9F59-4039-AAC3-24ECA029F9FE}" type="pres">
      <dgm:prSet presAssocID="{72EBEC4D-E774-4AA7-9A6E-DB4A33E083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</dgm:ptLst>
  <dgm:cxnLst>
    <dgm:cxn modelId="{233B8F5E-A871-432B-B3BB-31E8A7A65B80}" type="presOf" srcId="{72EBEC4D-E774-4AA7-9A6E-DB4A33E08358}" destId="{4890DC30-9F59-4039-AAC3-24ECA029F9F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EBEC4D-E774-4AA7-9A6E-DB4A33E083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4890DC30-9F59-4039-AAC3-24ECA029F9FE}" type="pres">
      <dgm:prSet presAssocID="{72EBEC4D-E774-4AA7-9A6E-DB4A33E083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</dgm:ptLst>
  <dgm:cxnLst>
    <dgm:cxn modelId="{C390CD87-2AF8-4AD7-9717-9CA86230E83C}" type="presOf" srcId="{72EBEC4D-E774-4AA7-9A6E-DB4A33E08358}" destId="{4890DC30-9F59-4039-AAC3-24ECA029F9F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EBEC4D-E774-4AA7-9A6E-DB4A33E083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4890DC30-9F59-4039-AAC3-24ECA029F9FE}" type="pres">
      <dgm:prSet presAssocID="{72EBEC4D-E774-4AA7-9A6E-DB4A33E083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</dgm:ptLst>
  <dgm:cxnLst>
    <dgm:cxn modelId="{D26C4769-7A6F-4EA2-80BD-7CFA2384D05A}" type="presOf" srcId="{72EBEC4D-E774-4AA7-9A6E-DB4A33E08358}" destId="{4890DC30-9F59-4039-AAC3-24ECA029F9F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2EBEC4D-E774-4AA7-9A6E-DB4A33E0835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4890DC30-9F59-4039-AAC3-24ECA029F9FE}" type="pres">
      <dgm:prSet presAssocID="{72EBEC4D-E774-4AA7-9A6E-DB4A33E0835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</dgm:ptLst>
  <dgm:cxnLst>
    <dgm:cxn modelId="{2FF1BFE4-7965-43DA-9DBB-ED9127BE0212}" type="presOf" srcId="{72EBEC4D-E774-4AA7-9A6E-DB4A33E08358}" destId="{4890DC30-9F59-4039-AAC3-24ECA029F9F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BDD2D7-A34B-4305-9B6E-D94290315227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4A18F5-9B12-4F6D-9AB6-FE7903DE52E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40462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2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30188602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3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3459557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4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1674925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5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2080422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9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2474604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Marcador de imagen de diapositiva 1">
            <a:extLst>
              <a:ext uri="{FF2B5EF4-FFF2-40B4-BE49-F238E27FC236}">
                <a16:creationId xmlns="" xmlns:a16="http://schemas.microsoft.com/office/drawing/2014/main" id="{7450BA09-F9A7-4107-BAF2-4DF80F5690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Marcador de notas 2">
            <a:extLst>
              <a:ext uri="{FF2B5EF4-FFF2-40B4-BE49-F238E27FC236}">
                <a16:creationId xmlns="" xmlns:a16="http://schemas.microsoft.com/office/drawing/2014/main" id="{89080CAB-CA26-4ABF-A5C6-A90DBB1C2C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CO" altLang="es-CO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FD619A6D-97D5-46C4-BD99-ADF8B1A7E0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2CE032-A0FB-411D-9291-45E5F5D0B7CD}" type="slidenum">
              <a:rPr lang="es-ES" altLang="es-CO" smtClean="0"/>
              <a:pPr>
                <a:defRPr/>
              </a:pPr>
              <a:t>10</a:t>
            </a:fld>
            <a:endParaRPr lang="es-ES" altLang="es-CO" dirty="0"/>
          </a:p>
        </p:txBody>
      </p:sp>
    </p:spTree>
    <p:extLst>
      <p:ext uri="{BB962C8B-B14F-4D97-AF65-F5344CB8AC3E}">
        <p14:creationId xmlns:p14="http://schemas.microsoft.com/office/powerpoint/2010/main" val="1942365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179747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11049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58746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27595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0008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67130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515521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12998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02228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9403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2528125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371120-F9DC-4300-A7FA-E8852E3B3F0D}" type="datetimeFigureOut">
              <a:rPr lang="es-CO" smtClean="0"/>
              <a:t>3/01/2020</a:t>
            </a:fld>
            <a:endParaRPr lang="es-CO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CBD31B-E7A4-40EA-B3C4-9D9774FC3F8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9940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1.xml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2.gi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slideLayout" Target="../slideLayouts/slideLayout1.xml"/><Relationship Id="rId7" Type="http://schemas.openxmlformats.org/officeDocument/2006/relationships/diagramData" Target="../diagrams/data3.xml"/><Relationship Id="rId12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3.bin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FB0864A4-9068-48EF-B500-5284F96AA37C}"/>
              </a:ext>
            </a:extLst>
          </p:cNvPr>
          <p:cNvSpPr txBox="1"/>
          <p:nvPr/>
        </p:nvSpPr>
        <p:spPr>
          <a:xfrm>
            <a:off x="3809788" y="2478180"/>
            <a:ext cx="423705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stión Humana</a:t>
            </a:r>
          </a:p>
          <a:p>
            <a:pPr algn="ctr"/>
            <a:r>
              <a:rPr lang="es-CO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ptiembre 9 2019</a:t>
            </a:r>
            <a:endParaRPr lang="es-CO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863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4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Diagrama 1"/>
          <p:cNvGraphicFramePr/>
          <p:nvPr>
            <p:extLst/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4916031" y="3023857"/>
            <a:ext cx="2068195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s-CO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racias</a:t>
            </a:r>
          </a:p>
          <a:p>
            <a:pPr lvl="0"/>
            <a:endParaRPr lang="es-CO" sz="4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O" sz="4000" dirty="0"/>
          </a:p>
        </p:txBody>
      </p:sp>
    </p:spTree>
    <p:extLst>
      <p:ext uri="{BB962C8B-B14F-4D97-AF65-F5344CB8AC3E}">
        <p14:creationId xmlns:p14="http://schemas.microsoft.com/office/powerpoint/2010/main" val="945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0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4112726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Rectángulo 3"/>
          <p:cNvSpPr/>
          <p:nvPr/>
        </p:nvSpPr>
        <p:spPr>
          <a:xfrm>
            <a:off x="9302222" y="1653"/>
            <a:ext cx="27955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ESA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ño 2019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457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4112726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Rectángulo 3"/>
          <p:cNvSpPr/>
          <p:nvPr/>
        </p:nvSpPr>
        <p:spPr>
          <a:xfrm>
            <a:off x="5418146" y="1653"/>
            <a:ext cx="66796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DOR DE ROTACION :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iembre 2019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8375" y="748198"/>
            <a:ext cx="10891057" cy="593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34112726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5179298" y="1653"/>
            <a:ext cx="69184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DOR DE ROTACION :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IEMBRE 2019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2771" y="769545"/>
            <a:ext cx="10762664" cy="483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11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5358641" y="1653"/>
            <a:ext cx="67391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ESA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Documentación de cargos y Perfiles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48672" y="3081112"/>
            <a:ext cx="6270323" cy="3319687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39207" y="1056400"/>
            <a:ext cx="6848536" cy="172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72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8058098" y="1653"/>
            <a:ext cx="403969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IESA –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iembre 2019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815270" y="4807208"/>
            <a:ext cx="4572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servicios de autogestión</a:t>
            </a:r>
            <a:endParaRPr lang="es-CO" dirty="0"/>
          </a:p>
        </p:txBody>
      </p:sp>
      <p:sp>
        <p:nvSpPr>
          <p:cNvPr id="12" name="Rectángulo 11"/>
          <p:cNvSpPr/>
          <p:nvPr/>
        </p:nvSpPr>
        <p:spPr>
          <a:xfrm>
            <a:off x="7728698" y="742249"/>
            <a:ext cx="4572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as a publicaciones</a:t>
            </a:r>
            <a:endParaRPr lang="es-CO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928" y="502943"/>
            <a:ext cx="5927714" cy="3793102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3584620" y="742249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6%</a:t>
            </a:r>
            <a:endParaRPr lang="es-CO" dirty="0"/>
          </a:p>
        </p:txBody>
      </p:sp>
      <p:sp>
        <p:nvSpPr>
          <p:cNvPr id="14" name="Rectángulo 13"/>
          <p:cNvSpPr/>
          <p:nvPr/>
        </p:nvSpPr>
        <p:spPr>
          <a:xfrm>
            <a:off x="1432359" y="1084827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%</a:t>
            </a:r>
            <a:endParaRPr lang="es-CO" dirty="0"/>
          </a:p>
        </p:txBody>
      </p:sp>
      <p:sp>
        <p:nvSpPr>
          <p:cNvPr id="15" name="Rectángulo 14"/>
          <p:cNvSpPr/>
          <p:nvPr/>
        </p:nvSpPr>
        <p:spPr>
          <a:xfrm>
            <a:off x="5736881" y="926915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%</a:t>
            </a:r>
            <a:endParaRPr lang="es-CO" dirty="0"/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928" y="5300115"/>
            <a:ext cx="8243397" cy="991658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1558" y="1269493"/>
            <a:ext cx="3685941" cy="2785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296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142510" y="1653"/>
            <a:ext cx="59552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IESA –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- Noticias mas visitadas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720" y="929396"/>
            <a:ext cx="8005103" cy="545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51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033699" y="1653"/>
            <a:ext cx="60640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IESA – </a:t>
            </a:r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- Accesos x </a:t>
            </a:r>
            <a:r>
              <a:rPr lang="es-CO" altLang="es-ES" sz="2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eación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5884" y="1231271"/>
            <a:ext cx="7890966" cy="313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47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0" name="Object 12">
            <a:extLst>
              <a:ext uri="{FF2B5EF4-FFF2-40B4-BE49-F238E27FC236}">
                <a16:creationId xmlns="" xmlns:a16="http://schemas.microsoft.com/office/drawing/2014/main" id="{61C68153-7294-41C0-9E83-5CAB1C29EF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204" y="1653"/>
          <a:ext cx="1652" cy="16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Diapositiva de think-cell" r:id="rId5" imgW="360" imgH="360" progId="">
                  <p:embed/>
                </p:oleObj>
              </mc:Choice>
              <mc:Fallback>
                <p:oleObj name="Diapositiva de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204" y="1653"/>
                        <a:ext cx="1652" cy="16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/>
          <p:cNvSpPr/>
          <p:nvPr/>
        </p:nvSpPr>
        <p:spPr>
          <a:xfrm>
            <a:off x="9638467" y="1653"/>
            <a:ext cx="24593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CO" altLang="es-E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TRABAJO</a:t>
            </a:r>
            <a:endParaRPr lang="es-CO" altLang="es-E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/>
          <p:cNvSpPr txBox="1"/>
          <p:nvPr/>
        </p:nvSpPr>
        <p:spPr>
          <a:xfrm rot="16200000">
            <a:off x="-3028404" y="3014328"/>
            <a:ext cx="6856349" cy="83099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GESTION HUMANA</a:t>
            </a:r>
          </a:p>
          <a:p>
            <a:endParaRPr lang="es-C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3500" y="232485"/>
            <a:ext cx="7830789" cy="4623547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815270" y="5112974"/>
            <a:ext cx="597528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TRABADORES EN SIESA</a:t>
            </a:r>
          </a:p>
          <a:p>
            <a:pPr algn="r"/>
            <a:endParaRPr lang="es-CO" altLang="es-E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s-CO" altLang="es-E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 </a:t>
            </a:r>
            <a:r>
              <a:rPr lang="es-CO" altLang="es-E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   6 </a:t>
            </a:r>
            <a:r>
              <a:rPr lang="es-CO" altLang="es-E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uerdo   Modalidad: </a:t>
            </a:r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óvil</a:t>
            </a:r>
          </a:p>
          <a:p>
            <a:pPr algn="r"/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&amp;D : 2    2 Acuerdo   Modalidad: Móvil</a:t>
            </a:r>
          </a:p>
          <a:p>
            <a:pPr algn="r"/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P </a:t>
            </a:r>
            <a:r>
              <a:rPr lang="es-CO" altLang="es-E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   2  </a:t>
            </a:r>
            <a:r>
              <a:rPr lang="es-CO" altLang="es-E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uerdo   Modalidad: </a:t>
            </a:r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ónomo</a:t>
            </a:r>
          </a:p>
          <a:p>
            <a:pPr algn="r"/>
            <a:r>
              <a:rPr lang="es-CO" altLang="es-E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: 1  0 Acuerdo  Modalidad: Autónomo</a:t>
            </a:r>
            <a:endParaRPr lang="es-CO" altLang="es-E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s-CO" altLang="es-ES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s-CO" altLang="es-E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7369269" y="6134923"/>
            <a:ext cx="4228219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s-CO" altLang="es-E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uricio: Cartago; </a:t>
            </a:r>
          </a:p>
          <a:p>
            <a:r>
              <a:rPr lang="es-CO" altLang="es-ES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xandra: B/manga, traslado a Bogotá en TT. Hasta Dic 31</a:t>
            </a:r>
          </a:p>
          <a:p>
            <a:r>
              <a:rPr lang="es-CO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na: Bogotá solicita hasta Dic 31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320361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729</TotalTime>
  <Words>141</Words>
  <Application>Microsoft Office PowerPoint</Application>
  <PresentationFormat>Panorámica</PresentationFormat>
  <Paragraphs>39</Paragraphs>
  <Slides>10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reya Botero Mejia</dc:creator>
  <cp:lastModifiedBy>Mireya Botero Mejia</cp:lastModifiedBy>
  <cp:revision>181</cp:revision>
  <dcterms:created xsi:type="dcterms:W3CDTF">2019-04-16T15:42:39Z</dcterms:created>
  <dcterms:modified xsi:type="dcterms:W3CDTF">2020-01-07T19:54:27Z</dcterms:modified>
</cp:coreProperties>
</file>